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8" r:id="rId2"/>
    <p:sldId id="298" r:id="rId3"/>
    <p:sldId id="259" r:id="rId4"/>
    <p:sldId id="268" r:id="rId5"/>
  </p:sldIdLst>
  <p:sldSz cx="12192000" cy="6858000"/>
  <p:notesSz cx="6797675" cy="992822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89" autoAdjust="0"/>
    <p:restoredTop sz="78627" autoAdjust="0"/>
  </p:normalViewPr>
  <p:slideViewPr>
    <p:cSldViewPr showGuides="1">
      <p:cViewPr varScale="1">
        <p:scale>
          <a:sx n="89" d="100"/>
          <a:sy n="89" d="100"/>
        </p:scale>
        <p:origin x="1740" y="96"/>
      </p:cViewPr>
      <p:guideLst>
        <p:guide orient="horz" pos="2455"/>
        <p:guide pos="3840"/>
        <p:guide orient="horz" pos="4020"/>
        <p:guide pos="234"/>
        <p:guide pos="3749"/>
        <p:guide pos="3931"/>
        <p:guide pos="7446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77698" y="9511964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048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2275" y="4777958"/>
            <a:ext cx="5953126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5883113" y="9511964"/>
            <a:ext cx="440244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3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1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•"/>
      <a:defRPr sz="1100" b="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586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1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5708650"/>
          </a:xfrm>
          <a:solidFill>
            <a:schemeClr val="accent6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algn="ctr">
              <a:spcBef>
                <a:spcPts val="0"/>
              </a:spcBef>
              <a:defRPr b="0"/>
            </a:lvl1pPr>
            <a:lvl2pPr algn="ctr">
              <a:defRPr/>
            </a:lvl2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 flipH="1">
            <a:off x="371476" y="1412876"/>
            <a:ext cx="11820525" cy="4356385"/>
          </a:xfrm>
          <a:custGeom>
            <a:avLst/>
            <a:gdLst>
              <a:gd name="connsiteX0" fmla="*/ 11324953 w 11820525"/>
              <a:gd name="connsiteY0" fmla="*/ 0 h 4356385"/>
              <a:gd name="connsiteX1" fmla="*/ 0 w 11820525"/>
              <a:gd name="connsiteY1" fmla="*/ 0 h 4356385"/>
              <a:gd name="connsiteX2" fmla="*/ 0 w 11820525"/>
              <a:gd name="connsiteY2" fmla="*/ 4356385 h 4356385"/>
              <a:gd name="connsiteX3" fmla="*/ 11820525 w 11820525"/>
              <a:gd name="connsiteY3" fmla="*/ 4356385 h 4356385"/>
              <a:gd name="connsiteX4" fmla="*/ 11820525 w 11820525"/>
              <a:gd name="connsiteY4" fmla="*/ 495572 h 4356385"/>
              <a:gd name="connsiteX5" fmla="*/ 11324953 w 11820525"/>
              <a:gd name="connsiteY5" fmla="*/ 0 h 4356385"/>
              <a:gd name="connsiteX0" fmla="*/ 0 w 11820525"/>
              <a:gd name="connsiteY0" fmla="*/ 4356385 h 4447825"/>
              <a:gd name="connsiteX1" fmla="*/ 11820525 w 11820525"/>
              <a:gd name="connsiteY1" fmla="*/ 4356385 h 4447825"/>
              <a:gd name="connsiteX2" fmla="*/ 11820525 w 11820525"/>
              <a:gd name="connsiteY2" fmla="*/ 495572 h 4447825"/>
              <a:gd name="connsiteX3" fmla="*/ 11324953 w 11820525"/>
              <a:gd name="connsiteY3" fmla="*/ 0 h 4447825"/>
              <a:gd name="connsiteX4" fmla="*/ 0 w 11820525"/>
              <a:gd name="connsiteY4" fmla="*/ 0 h 4447825"/>
              <a:gd name="connsiteX5" fmla="*/ 91440 w 11820525"/>
              <a:gd name="connsiteY5" fmla="*/ 4447825 h 4447825"/>
              <a:gd name="connsiteX0" fmla="*/ 0 w 11820525"/>
              <a:gd name="connsiteY0" fmla="*/ 4356385 h 4356385"/>
              <a:gd name="connsiteX1" fmla="*/ 11820525 w 11820525"/>
              <a:gd name="connsiteY1" fmla="*/ 4356385 h 4356385"/>
              <a:gd name="connsiteX2" fmla="*/ 11820525 w 11820525"/>
              <a:gd name="connsiteY2" fmla="*/ 495572 h 4356385"/>
              <a:gd name="connsiteX3" fmla="*/ 11324953 w 11820525"/>
              <a:gd name="connsiteY3" fmla="*/ 0 h 4356385"/>
              <a:gd name="connsiteX4" fmla="*/ 0 w 11820525"/>
              <a:gd name="connsiteY4" fmla="*/ 0 h 435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0525" h="4356385">
                <a:moveTo>
                  <a:pt x="0" y="4356385"/>
                </a:moveTo>
                <a:lnTo>
                  <a:pt x="11820525" y="4356385"/>
                </a:lnTo>
                <a:lnTo>
                  <a:pt x="11820525" y="495572"/>
                </a:lnTo>
                <a:cubicBezTo>
                  <a:pt x="11820525" y="221875"/>
                  <a:pt x="11598650" y="0"/>
                  <a:pt x="11324953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alpha val="80000"/>
            </a:schemeClr>
          </a:solidFill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12000" y="5708649"/>
            <a:ext cx="12168000" cy="144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65A633F5-6A14-482B-B7C3-EA41A071536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41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1124744"/>
            <a:ext cx="12192000" cy="5733257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51676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2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1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8543925" y="5308044"/>
            <a:ext cx="3276600" cy="1073706"/>
          </a:xfrm>
          <a:prstGeom prst="roundRect">
            <a:avLst>
              <a:gd name="adj" fmla="val 17712"/>
            </a:avLst>
          </a:prstGeom>
          <a:solidFill>
            <a:schemeClr val="accent1"/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ED5E4F3E-A1C6-427C-B1CE-8C924C7215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775520" y="3574030"/>
            <a:ext cx="3276600" cy="1143687"/>
          </a:xfrm>
          <a:prstGeom prst="roundRect">
            <a:avLst>
              <a:gd name="adj" fmla="val 17712"/>
            </a:avLst>
          </a:prstGeom>
          <a:solidFill>
            <a:srgbClr val="FFFFFF">
              <a:alpha val="80000"/>
            </a:srgbClr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983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14B224-5848-41E4-83E8-3646E3C858CD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581B0A0A-9E83-4AFD-B2F0-18899753C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</p:spTree>
    <p:extLst>
      <p:ext uri="{BB962C8B-B14F-4D97-AF65-F5344CB8AC3E}">
        <p14:creationId xmlns:p14="http://schemas.microsoft.com/office/powerpoint/2010/main" val="2120934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956EC5-7C62-4377-BC2B-AC7237B5C885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FDCB3BE5-C7F8-40B2-9A8A-7EB4769007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465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hel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C75EAC1-B2EA-4787-9039-A0C7FA5C39AA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49E70B88-D04B-42BC-893F-9AA3B0842B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21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 mit Spo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A0302BA-813F-4F16-BF85-B004EF341B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5000">
                <a:schemeClr val="accent4"/>
              </a:gs>
              <a:gs pos="83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BDF7B2-AE09-4CB1-ADA1-5437FBFCAD44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D3750765-EBFB-4AD4-B760-B0FF6039CF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61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9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5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983432" y="4018956"/>
            <a:ext cx="10837092" cy="830997"/>
          </a:xfrm>
        </p:spPr>
        <p:txBody>
          <a:bodyPr anchor="b"/>
          <a:lstStyle>
            <a:lvl1pPr algn="l">
              <a:spcBef>
                <a:spcPts val="0"/>
              </a:spcBef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ak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983432" y="5019229"/>
            <a:ext cx="10837092" cy="55399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ielen Dank </a:t>
            </a:r>
            <a:endParaRPr lang="en-GB" dirty="0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33C794-CA00-4CB7-864D-3BEBCDA04D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234958" y="400371"/>
            <a:ext cx="1573627" cy="52172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384174" y="5203895"/>
            <a:ext cx="0" cy="1654105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ruckrahmen">
            <a:extLst>
              <a:ext uri="{FF2B5EF4-FFF2-40B4-BE49-F238E27FC236}">
                <a16:creationId xmlns:a16="http://schemas.microsoft.com/office/drawing/2014/main" id="{6DE40ADF-7729-4934-A1F7-56D938009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5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 bwMode="gray">
          <a:xfrm>
            <a:off x="983432" y="1988840"/>
            <a:ext cx="10837092" cy="984885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de-DE" dirty="0"/>
              <a:t>Unser Antrieb: </a:t>
            </a:r>
            <a:br>
              <a:rPr lang="de-DE" dirty="0"/>
            </a:br>
            <a:r>
              <a:rPr lang="de-DE" dirty="0"/>
              <a:t>In der Gemeinschaft Werte schützen. </a:t>
            </a:r>
          </a:p>
        </p:txBody>
      </p:sp>
      <p:sp>
        <p:nvSpPr>
          <p:cNvPr id="9" name="Textplatzhalter 19"/>
          <p:cNvSpPr txBox="1">
            <a:spLocks/>
          </p:cNvSpPr>
          <p:nvPr userDrawn="1"/>
        </p:nvSpPr>
        <p:spPr bwMode="gray">
          <a:xfrm>
            <a:off x="10229324" y="6018724"/>
            <a:ext cx="1591200" cy="52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Druckrahmen">
            <a:extLst>
              <a:ext uri="{FF2B5EF4-FFF2-40B4-BE49-F238E27FC236}">
                <a16:creationId xmlns:a16="http://schemas.microsoft.com/office/drawing/2014/main" id="{07A3AEBD-F634-4BC4-A1B7-40DC399BB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154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1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5" name="Druckrahmen">
            <a:extLst>
              <a:ext uri="{FF2B5EF4-FFF2-40B4-BE49-F238E27FC236}">
                <a16:creationId xmlns:a16="http://schemas.microsoft.com/office/drawing/2014/main" id="{039B24DE-6500-48F7-845F-83E319875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1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white">
          <a:xfrm>
            <a:off x="0" y="0"/>
            <a:ext cx="12192000" cy="6237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384174" y="5123267"/>
            <a:ext cx="0" cy="1114021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 bwMode="gray">
          <a:xfrm>
            <a:off x="0" y="6237287"/>
            <a:ext cx="12191995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4634" y="6354152"/>
            <a:ext cx="983586" cy="324000"/>
          </a:xfrm>
          <a:prstGeom prst="rect">
            <a:avLst/>
          </a:prstGeom>
        </p:spPr>
      </p:pic>
      <p:sp>
        <p:nvSpPr>
          <p:cNvPr id="12" name="Druckrahmen">
            <a:extLst>
              <a:ext uri="{FF2B5EF4-FFF2-40B4-BE49-F238E27FC236}">
                <a16:creationId xmlns:a16="http://schemas.microsoft.com/office/drawing/2014/main" id="{D8267DB3-8AFE-443C-B334-7F78988201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16758" y="1316377"/>
            <a:ext cx="100800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238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white">
          <a:xfrm>
            <a:off x="0" y="1"/>
            <a:ext cx="12192000" cy="3573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" y="3573016"/>
            <a:ext cx="12191999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9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5B6CB28B-F266-4BFF-A587-37CF3DF2C6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01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58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573463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algn="ctr">
              <a:spcBef>
                <a:spcPts val="0"/>
              </a:spcBef>
              <a:defRPr lang="de-DE" b="0"/>
            </a:lvl1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gray">
          <a:xfrm flipH="1">
            <a:off x="384174" y="836712"/>
            <a:ext cx="11807826" cy="2736751"/>
          </a:xfrm>
          <a:custGeom>
            <a:avLst/>
            <a:gdLst>
              <a:gd name="connsiteX0" fmla="*/ 11350361 w 11807826"/>
              <a:gd name="connsiteY0" fmla="*/ 0 h 2736751"/>
              <a:gd name="connsiteX1" fmla="*/ 0 w 11807826"/>
              <a:gd name="connsiteY1" fmla="*/ 0 h 2736751"/>
              <a:gd name="connsiteX2" fmla="*/ 0 w 11807826"/>
              <a:gd name="connsiteY2" fmla="*/ 2736751 h 2736751"/>
              <a:gd name="connsiteX3" fmla="*/ 11807826 w 11807826"/>
              <a:gd name="connsiteY3" fmla="*/ 2736751 h 2736751"/>
              <a:gd name="connsiteX4" fmla="*/ 11807826 w 11807826"/>
              <a:gd name="connsiteY4" fmla="*/ 457465 h 2736751"/>
              <a:gd name="connsiteX5" fmla="*/ 11350361 w 11807826"/>
              <a:gd name="connsiteY5" fmla="*/ 0 h 2736751"/>
              <a:gd name="connsiteX0" fmla="*/ 0 w 11807826"/>
              <a:gd name="connsiteY0" fmla="*/ 2736751 h 2828191"/>
              <a:gd name="connsiteX1" fmla="*/ 11807826 w 11807826"/>
              <a:gd name="connsiteY1" fmla="*/ 2736751 h 2828191"/>
              <a:gd name="connsiteX2" fmla="*/ 11807826 w 11807826"/>
              <a:gd name="connsiteY2" fmla="*/ 457465 h 2828191"/>
              <a:gd name="connsiteX3" fmla="*/ 11350361 w 11807826"/>
              <a:gd name="connsiteY3" fmla="*/ 0 h 2828191"/>
              <a:gd name="connsiteX4" fmla="*/ 0 w 11807826"/>
              <a:gd name="connsiteY4" fmla="*/ 0 h 2828191"/>
              <a:gd name="connsiteX5" fmla="*/ 91440 w 11807826"/>
              <a:gd name="connsiteY5" fmla="*/ 2828191 h 2828191"/>
              <a:gd name="connsiteX0" fmla="*/ 0 w 11807826"/>
              <a:gd name="connsiteY0" fmla="*/ 2736751 h 2736751"/>
              <a:gd name="connsiteX1" fmla="*/ 11807826 w 11807826"/>
              <a:gd name="connsiteY1" fmla="*/ 2736751 h 2736751"/>
              <a:gd name="connsiteX2" fmla="*/ 11807826 w 11807826"/>
              <a:gd name="connsiteY2" fmla="*/ 457465 h 2736751"/>
              <a:gd name="connsiteX3" fmla="*/ 11350361 w 11807826"/>
              <a:gd name="connsiteY3" fmla="*/ 0 h 2736751"/>
              <a:gd name="connsiteX4" fmla="*/ 0 w 11807826"/>
              <a:gd name="connsiteY4" fmla="*/ 0 h 2736751"/>
              <a:gd name="connsiteX0" fmla="*/ 11807826 w 11807826"/>
              <a:gd name="connsiteY0" fmla="*/ 2736751 h 2736751"/>
              <a:gd name="connsiteX1" fmla="*/ 11807826 w 11807826"/>
              <a:gd name="connsiteY1" fmla="*/ 457465 h 2736751"/>
              <a:gd name="connsiteX2" fmla="*/ 11350361 w 11807826"/>
              <a:gd name="connsiteY2" fmla="*/ 0 h 2736751"/>
              <a:gd name="connsiteX3" fmla="*/ 0 w 11807826"/>
              <a:gd name="connsiteY3" fmla="*/ 0 h 273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6" h="2736751">
                <a:moveTo>
                  <a:pt x="11807826" y="2736751"/>
                </a:moveTo>
                <a:lnTo>
                  <a:pt x="11807826" y="457465"/>
                </a:lnTo>
                <a:cubicBezTo>
                  <a:pt x="11807826" y="204814"/>
                  <a:pt x="11603012" y="0"/>
                  <a:pt x="11350361" y="0"/>
                </a:cubicBezTo>
                <a:lnTo>
                  <a:pt x="0" y="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21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CE89793A-E11E-434B-8861-A2A24AD5DE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88259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ED33ED-86EF-43E0-BBFC-3F79D10AF08C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F983353-820A-4CD3-A0FB-236A47D3B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4FB014-998F-476A-83AB-02F0B66F6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EF2028D-AA01-41AA-83F1-6EDF51E76A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487587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962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A40309-AA06-43DE-A277-059A46DC32ED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8A0F6248-1825-462D-863E-8FD0BC7384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7044B-AD00-4A0B-987D-10AB2AA2F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B8307F-641C-4703-A3B0-18C3E7348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16934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208CA-E75F-4040-B41E-9BAD50EA4F3B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40463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3BB3F5-6099-4B61-A589-05E6B105D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90287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091A67-CCD8-478F-8AFD-2777D0E4A009}" type="datetime1">
              <a:rPr lang="de-DE" smtClean="0"/>
              <a:t>15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71475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2FAEEE-6E6C-4B9F-8C30-3829B7034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525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BF9EE-19E1-44B8-BB1F-181B404128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7286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balken"/>
          <p:cNvSpPr/>
          <p:nvPr/>
        </p:nvSpPr>
        <p:spPr bwMode="gray">
          <a:xfrm>
            <a:off x="0" y="1"/>
            <a:ext cx="12192000" cy="11247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475" y="230898"/>
            <a:ext cx="10080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48" cy="1487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71475" y="650204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522EC6F-1043-42A9-B89A-8627A45F02AF}" type="datetime1">
              <a:rPr lang="de-DE" smtClean="0"/>
              <a:t>15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07529" y="6502042"/>
            <a:ext cx="976330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|  Lukas Kondziella | Prüfungsnummer: 142-1867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58524" y="6502042"/>
            <a:ext cx="761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ruckrahmen">
            <a:extLst>
              <a:ext uri="{FF2B5EF4-FFF2-40B4-BE49-F238E27FC236}">
                <a16:creationId xmlns:a16="http://schemas.microsoft.com/office/drawing/2014/main" id="{C23BDD6F-6C7A-454F-BD3A-0BCDFFAEE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6"/>
          <p:cNvSpPr txBox="1">
            <a:spLocks/>
          </p:cNvSpPr>
          <p:nvPr/>
        </p:nvSpPr>
        <p:spPr bwMode="blackWhite">
          <a:xfrm>
            <a:off x="10832400" y="255600"/>
            <a:ext cx="982800" cy="324000"/>
          </a:xfrm>
          <a:prstGeom prst="rect">
            <a:avLst/>
          </a:prstGeom>
          <a:blipFill>
            <a:blip r:embed="rId19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993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1" r:id="rId2"/>
    <p:sldLayoutId id="2147483655" r:id="rId3"/>
    <p:sldLayoutId id="2147483662" r:id="rId4"/>
    <p:sldLayoutId id="2147483665" r:id="rId5"/>
    <p:sldLayoutId id="2147483650" r:id="rId6"/>
    <p:sldLayoutId id="2147483656" r:id="rId7"/>
    <p:sldLayoutId id="2147483657" r:id="rId8"/>
    <p:sldLayoutId id="2147483663" r:id="rId9"/>
    <p:sldLayoutId id="2147483658" r:id="rId10"/>
    <p:sldLayoutId id="2147483666" r:id="rId11"/>
    <p:sldLayoutId id="2147483654" r:id="rId12"/>
    <p:sldLayoutId id="2147483660" r:id="rId13"/>
    <p:sldLayoutId id="2147483671" r:id="rId14"/>
    <p:sldLayoutId id="2147483667" r:id="rId15"/>
    <p:sldLayoutId id="2147483661" r:id="rId16"/>
    <p:sldLayoutId id="214748366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55600" indent="-1778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1988841"/>
            <a:ext cx="10837092" cy="984885"/>
          </a:xfrm>
        </p:spPr>
        <p:txBody>
          <a:bodyPr/>
          <a:lstStyle/>
          <a:p>
            <a:r>
              <a:rPr lang="de-DE" dirty="0"/>
              <a:t>Präsentation zur </a:t>
            </a:r>
            <a:r>
              <a:rPr lang="de-DE" dirty="0" err="1"/>
              <a:t>GroPro</a:t>
            </a:r>
            <a:br>
              <a:rPr lang="de-DE" dirty="0"/>
            </a:br>
            <a:r>
              <a:rPr lang="de-DE" dirty="0"/>
              <a:t>Abschlussprüfung Sommer 2020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„Zufallsgeneratoren“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FB9AFF1A-74F3-4769-B3E7-7F748D88A726}" type="datetime1">
              <a:rPr lang="de-DE" smtClean="0"/>
              <a:t>15.07.2020</a:t>
            </a:fld>
            <a:r>
              <a:rPr lang="de-DE" dirty="0"/>
              <a:t> | Köln |</a:t>
            </a:r>
          </a:p>
        </p:txBody>
      </p:sp>
    </p:spTree>
    <p:extLst>
      <p:ext uri="{BB962C8B-B14F-4D97-AF65-F5344CB8AC3E}">
        <p14:creationId xmlns:p14="http://schemas.microsoft.com/office/powerpoint/2010/main" val="3843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CBBEB5-C90F-4C48-99CD-A1498F0F41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983432" y="1988840"/>
            <a:ext cx="10837092" cy="984885"/>
          </a:xfrm>
        </p:spPr>
        <p:txBody>
          <a:bodyPr/>
          <a:lstStyle/>
          <a:p>
            <a:r>
              <a:rPr lang="de-DE" dirty="0"/>
              <a:t>Gothaer Systems GmbH</a:t>
            </a:r>
            <a:br>
              <a:rPr lang="de-DE" dirty="0"/>
            </a:br>
            <a:endParaRPr lang="de-DE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983432" y="3143001"/>
            <a:ext cx="10837092" cy="1107996"/>
          </a:xfrm>
        </p:spPr>
        <p:txBody>
          <a:bodyPr/>
          <a:lstStyle/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IT-Dienstleister der Gothaer-Versicherungsbank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ca. 600 interne Mitarbeiter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Letzter Praktikumseinsatz im Team SPS-SCH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D731235-838E-4F9E-9628-064E8F1FF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7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0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">
            <a:extLst>
              <a:ext uri="{FF2B5EF4-FFF2-40B4-BE49-F238E27FC236}">
                <a16:creationId xmlns:a16="http://schemas.microsoft.com/office/drawing/2014/main" id="{8F3AD83B-9973-4EE2-AFA1-0A938B6549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275847"/>
              </p:ext>
            </p:extLst>
          </p:nvPr>
        </p:nvGraphicFramePr>
        <p:xfrm>
          <a:off x="911424" y="2132856"/>
          <a:ext cx="10883527" cy="39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00">
                  <a:extLst>
                    <a:ext uri="{9D8B030D-6E8A-4147-A177-3AD203B41FA5}">
                      <a16:colId xmlns:a16="http://schemas.microsoft.com/office/drawing/2014/main" val="1770018436"/>
                    </a:ext>
                  </a:extLst>
                </a:gridCol>
                <a:gridCol w="1006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ufgabenstellung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alyse / Herangehensweise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36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 / System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sblick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772C9DE-AC5C-4F5F-800B-ACA0FB34E690}"/>
              </a:ext>
            </a:extLst>
          </p:cNvPr>
          <p:cNvSpPr/>
          <p:nvPr/>
        </p:nvSpPr>
        <p:spPr bwMode="white">
          <a:xfrm flipH="1">
            <a:off x="911424" y="2132856"/>
            <a:ext cx="100802" cy="100802"/>
          </a:xfrm>
          <a:custGeom>
            <a:avLst/>
            <a:gdLst>
              <a:gd name="connsiteX0" fmla="*/ 100802 w 100802"/>
              <a:gd name="connsiteY0" fmla="*/ 0 h 100802"/>
              <a:gd name="connsiteX1" fmla="*/ 0 w 100802"/>
              <a:gd name="connsiteY1" fmla="*/ 0 h 100802"/>
              <a:gd name="connsiteX2" fmla="*/ 100802 w 100802"/>
              <a:gd name="connsiteY2" fmla="*/ 100802 h 1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802" h="100802">
                <a:moveTo>
                  <a:pt x="100802" y="0"/>
                </a:moveTo>
                <a:lnTo>
                  <a:pt x="0" y="0"/>
                </a:lnTo>
                <a:cubicBezTo>
                  <a:pt x="55671" y="0"/>
                  <a:pt x="100802" y="45131"/>
                  <a:pt x="100802" y="1008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61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3187960"/>
            <a:ext cx="10837092" cy="1661993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19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EMWPjRY2FXlW0sFM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4O6re_QrGYS9NFD4Q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SVKfzQJmje.JcJjR0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uwk2ERZaJmlhGdtY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zNMdvR5qA1Ne24pE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k3rd0SgqAH_HB5OE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h_hab_kb">
  <a:themeElements>
    <a:clrScheme name="Gothaer02">
      <a:dk1>
        <a:srgbClr val="000000"/>
      </a:dk1>
      <a:lt1>
        <a:srgbClr val="FFFFFF"/>
      </a:lt1>
      <a:dk2>
        <a:srgbClr val="005064"/>
      </a:dk2>
      <a:lt2>
        <a:srgbClr val="CCE3E9"/>
      </a:lt2>
      <a:accent1>
        <a:srgbClr val="00718F"/>
      </a:accent1>
      <a:accent2>
        <a:srgbClr val="78B4C4"/>
      </a:accent2>
      <a:accent3>
        <a:srgbClr val="A7C800"/>
      </a:accent3>
      <a:accent4>
        <a:srgbClr val="4899AF"/>
      </a:accent4>
      <a:accent5>
        <a:srgbClr val="E1100A"/>
      </a:accent5>
      <a:accent6>
        <a:srgbClr val="DFDCD7"/>
      </a:accent6>
      <a:hlink>
        <a:srgbClr val="00718F"/>
      </a:hlink>
      <a:folHlink>
        <a:srgbClr val="78B4C4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algn="l">
          <a:spcBef>
            <a:spcPts val="600"/>
          </a:spcBef>
          <a:buClr>
            <a:schemeClr val="accent1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defRPr sz="1600" dirty="0" err="1" smtClean="0"/>
        </a:defPPr>
      </a:lstStyle>
    </a:txDef>
  </a:objectDefaults>
  <a:extraClrSchemeLst/>
  <a:custClrLst>
    <a:custClr name="Gothaer Blau 35%">
      <a:srgbClr val="A8CFD9"/>
    </a:custClr>
    <a:custClr name="Gothaer Gruen 75%">
      <a:srgbClr val="BDD640"/>
    </a:custClr>
    <a:custClr name="Gothaer Gruen 50%">
      <a:srgbClr val="D3E380"/>
    </a:custClr>
    <a:custClr name="Gothaer Gruen 35%">
      <a:srgbClr val="E0ECA6"/>
    </a:custClr>
    <a:custClr name="Gothaer Gruen 20%">
      <a:srgbClr val="EDF4CC"/>
    </a:custClr>
    <a:custClr name="Gothaer Grau 75% ">
      <a:srgbClr val="E7E5E1"/>
    </a:custClr>
    <a:custClr name="Gothaer Grau 50%">
      <a:srgbClr val="EFEDEB"/>
    </a:custClr>
    <a:custClr name="Gothaer Grau 35%">
      <a:srgbClr val="F4F3F1"/>
    </a:custClr>
    <a:custClr name="Gothaer Grau 20%">
      <a:srgbClr val="F9F8F7"/>
    </a:custClr>
  </a:custClrLst>
  <a:extLst>
    <a:ext uri="{05A4C25C-085E-4340-85A3-A5531E510DB2}">
      <thm15:themeFamily xmlns:thm15="http://schemas.microsoft.com/office/thememl/2012/main" name="Gothaer_Master_16zu9_scr10.potx" id="{39CDC12C-CC27-49BF-8F6C-D9028B0181F2}" vid="{29B9E739-BCA6-4564-9E9C-D0C03CE9D02C}"/>
    </a:ext>
  </a:extLst>
</a:theme>
</file>

<file path=ppt/theme/theme2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h_hab_kb</Template>
  <TotalTime>0</TotalTime>
  <Words>54</Words>
  <Application>Microsoft Office PowerPoint</Application>
  <PresentationFormat>Breitbild</PresentationFormat>
  <Paragraphs>22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Symbol</vt:lpstr>
      <vt:lpstr>Wingdings</vt:lpstr>
      <vt:lpstr>ich_hab_kb</vt:lpstr>
      <vt:lpstr>think-cell Folie</vt:lpstr>
      <vt:lpstr>Präsentation zur GroPro Abschlussprüfung Sommer 2020</vt:lpstr>
      <vt:lpstr>Gothaer Systems GmbH </vt:lpstr>
      <vt:lpstr>Agenda</vt:lpstr>
      <vt:lpstr>Vielen Dank für Ihre Aufmerksamkeit</vt:lpstr>
    </vt:vector>
  </TitlesOfParts>
  <Manager>Vorname, Name</Manager>
  <Company>Gotha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zur GroPro – Sommersemester 2019</dc:title>
  <dc:subject>PowerPoint-Master</dc:subject>
  <dc:creator>Lukas Kondziella</dc:creator>
  <dc:description>Optimiert für PowerPoint 2016</dc:description>
  <cp:lastModifiedBy>Bjarne Herrmann</cp:lastModifiedBy>
  <cp:revision>31</cp:revision>
  <cp:lastPrinted>2019-05-24T13:54:24Z</cp:lastPrinted>
  <dcterms:created xsi:type="dcterms:W3CDTF">2019-06-25T06:47:37Z</dcterms:created>
  <dcterms:modified xsi:type="dcterms:W3CDTF">2020-07-15T08:36:48Z</dcterms:modified>
  <cp:category>PowerPoint-Master</cp:category>
</cp:coreProperties>
</file>